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706915-DA6E-E6EC-D3AA-3F8BEAEE7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706915-DA6E-E6EC-D3AA-3F8BEAEE7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09341-134F-A335-CCA5-2D4F3A299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85DC4-4EFC-653E-BC83-E9BC9E980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C0EBC8-91B2-4F1F-A770-70CFA2D5CD20}"/>
              </a:ext>
            </a:extLst>
          </p:cNvPr>
          <p:cNvGrpSpPr/>
          <p:nvPr/>
        </p:nvGrpSpPr>
        <p:grpSpPr>
          <a:xfrm>
            <a:off x="1144349" y="1292158"/>
            <a:ext cx="914400" cy="876300"/>
            <a:chOff x="858520" y="1447800"/>
            <a:chExt cx="914400" cy="8763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3DAD30D-8979-4E9B-AC6D-ED3DEE81C979}"/>
                </a:ext>
              </a:extLst>
            </p:cNvPr>
            <p:cNvSpPr>
              <a:spLocks/>
            </p:cNvSpPr>
            <p:nvPr/>
          </p:nvSpPr>
          <p:spPr>
            <a:xfrm>
              <a:off x="858520" y="1447800"/>
              <a:ext cx="914400" cy="8763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7CAC2AC-725C-4AF1-B14D-2C85B4C04EF9}"/>
                </a:ext>
              </a:extLst>
            </p:cNvPr>
            <p:cNvSpPr>
              <a:spLocks/>
            </p:cNvSpPr>
            <p:nvPr/>
          </p:nvSpPr>
          <p:spPr>
            <a:xfrm>
              <a:off x="1389538" y="1447800"/>
              <a:ext cx="383382" cy="876300"/>
            </a:xfrm>
            <a:custGeom>
              <a:avLst/>
              <a:gdLst/>
              <a:ahLst/>
              <a:cxnLst/>
              <a:rect l="l" t="t" r="r" b="b"/>
              <a:pathLst>
                <a:path w="383382" h="876300">
                  <a:moveTo>
                    <a:pt x="247650" y="0"/>
                  </a:moveTo>
                  <a:lnTo>
                    <a:pt x="383382" y="0"/>
                  </a:lnTo>
                  <a:lnTo>
                    <a:pt x="383382" y="876300"/>
                  </a:lnTo>
                  <a:lnTo>
                    <a:pt x="216099" y="876300"/>
                  </a:lnTo>
                  <a:lnTo>
                    <a:pt x="216099" y="245864"/>
                  </a:lnTo>
                  <a:cubicBezTo>
                    <a:pt x="154980" y="303014"/>
                    <a:pt x="82947" y="345281"/>
                    <a:pt x="0" y="372666"/>
                  </a:cubicBezTo>
                  <a:lnTo>
                    <a:pt x="0" y="220861"/>
                  </a:lnTo>
                  <a:cubicBezTo>
                    <a:pt x="43656" y="206574"/>
                    <a:pt x="91083" y="179487"/>
                    <a:pt x="142280" y="139601"/>
                  </a:cubicBezTo>
                  <a:cubicBezTo>
                    <a:pt x="193477" y="99715"/>
                    <a:pt x="228600" y="53181"/>
                    <a:pt x="24765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DA6551-A5FB-4BCB-A51C-B04BFE965DAD}"/>
              </a:ext>
            </a:extLst>
          </p:cNvPr>
          <p:cNvSpPr txBox="1">
            <a:spLocks/>
          </p:cNvSpPr>
          <p:nvPr/>
        </p:nvSpPr>
        <p:spPr>
          <a:xfrm>
            <a:off x="2379475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C4AAAF-3046-4A63-B0C2-FD3007A84569}"/>
              </a:ext>
            </a:extLst>
          </p:cNvPr>
          <p:cNvGrpSpPr/>
          <p:nvPr/>
        </p:nvGrpSpPr>
        <p:grpSpPr>
          <a:xfrm>
            <a:off x="1144349" y="3283235"/>
            <a:ext cx="914400" cy="876300"/>
            <a:chOff x="858520" y="3438877"/>
            <a:chExt cx="914400" cy="876300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D4E459E-76B3-4DD6-B93D-49FD2C5B4B6B}"/>
                </a:ext>
              </a:extLst>
            </p:cNvPr>
            <p:cNvSpPr>
              <a:spLocks/>
            </p:cNvSpPr>
            <p:nvPr/>
          </p:nvSpPr>
          <p:spPr>
            <a:xfrm>
              <a:off x="858520" y="3438877"/>
              <a:ext cx="914400" cy="876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B211BE7-1F11-4CFC-9060-79B1DB8B7EBE}"/>
                </a:ext>
              </a:extLst>
            </p:cNvPr>
            <p:cNvSpPr/>
            <p:nvPr/>
          </p:nvSpPr>
          <p:spPr>
            <a:xfrm>
              <a:off x="1186538" y="3438877"/>
              <a:ext cx="586382" cy="876300"/>
            </a:xfrm>
            <a:custGeom>
              <a:avLst/>
              <a:gdLst/>
              <a:ahLst/>
              <a:cxnLst/>
              <a:rect l="l" t="t" r="r" b="b"/>
              <a:pathLst>
                <a:path w="586382" h="876300">
                  <a:moveTo>
                    <a:pt x="309562" y="0"/>
                  </a:moveTo>
                  <a:cubicBezTo>
                    <a:pt x="395684" y="0"/>
                    <a:pt x="463351" y="23217"/>
                    <a:pt x="512564" y="69652"/>
                  </a:cubicBezTo>
                  <a:cubicBezTo>
                    <a:pt x="561776" y="116086"/>
                    <a:pt x="586382" y="173831"/>
                    <a:pt x="586382" y="242888"/>
                  </a:cubicBezTo>
                  <a:cubicBezTo>
                    <a:pt x="586382" y="282178"/>
                    <a:pt x="579338" y="319584"/>
                    <a:pt x="565249" y="355104"/>
                  </a:cubicBezTo>
                  <a:cubicBezTo>
                    <a:pt x="551160" y="390624"/>
                    <a:pt x="528836" y="427831"/>
                    <a:pt x="498276" y="466725"/>
                  </a:cubicBezTo>
                  <a:cubicBezTo>
                    <a:pt x="478036" y="492522"/>
                    <a:pt x="441523" y="529630"/>
                    <a:pt x="388739" y="578049"/>
                  </a:cubicBezTo>
                  <a:cubicBezTo>
                    <a:pt x="335954" y="626467"/>
                    <a:pt x="302518" y="658614"/>
                    <a:pt x="288428" y="674489"/>
                  </a:cubicBezTo>
                  <a:cubicBezTo>
                    <a:pt x="274339" y="690364"/>
                    <a:pt x="262929" y="705842"/>
                    <a:pt x="254198" y="720924"/>
                  </a:cubicBezTo>
                  <a:lnTo>
                    <a:pt x="586382" y="720924"/>
                  </a:lnTo>
                  <a:lnTo>
                    <a:pt x="586382" y="876300"/>
                  </a:lnTo>
                  <a:lnTo>
                    <a:pt x="0" y="876300"/>
                  </a:lnTo>
                  <a:cubicBezTo>
                    <a:pt x="6350" y="817563"/>
                    <a:pt x="25400" y="761901"/>
                    <a:pt x="57150" y="709315"/>
                  </a:cubicBezTo>
                  <a:cubicBezTo>
                    <a:pt x="88900" y="656729"/>
                    <a:pt x="151606" y="586978"/>
                    <a:pt x="245268" y="500063"/>
                  </a:cubicBezTo>
                  <a:cubicBezTo>
                    <a:pt x="320675" y="429816"/>
                    <a:pt x="366911" y="382191"/>
                    <a:pt x="383976" y="357188"/>
                  </a:cubicBezTo>
                  <a:cubicBezTo>
                    <a:pt x="406995" y="322660"/>
                    <a:pt x="418504" y="288528"/>
                    <a:pt x="418504" y="254794"/>
                  </a:cubicBezTo>
                  <a:cubicBezTo>
                    <a:pt x="418504" y="217488"/>
                    <a:pt x="408483" y="188813"/>
                    <a:pt x="388441" y="168771"/>
                  </a:cubicBezTo>
                  <a:cubicBezTo>
                    <a:pt x="368399" y="148729"/>
                    <a:pt x="340717" y="138708"/>
                    <a:pt x="305395" y="138708"/>
                  </a:cubicBezTo>
                  <a:cubicBezTo>
                    <a:pt x="270470" y="138708"/>
                    <a:pt x="242689" y="149225"/>
                    <a:pt x="222051" y="170260"/>
                  </a:cubicBezTo>
                  <a:cubicBezTo>
                    <a:pt x="201414" y="191294"/>
                    <a:pt x="189507" y="226219"/>
                    <a:pt x="186332" y="275035"/>
                  </a:cubicBezTo>
                  <a:lnTo>
                    <a:pt x="19645" y="258366"/>
                  </a:lnTo>
                  <a:cubicBezTo>
                    <a:pt x="29567" y="166291"/>
                    <a:pt x="60721" y="100211"/>
                    <a:pt x="113109" y="60127"/>
                  </a:cubicBezTo>
                  <a:cubicBezTo>
                    <a:pt x="165496" y="20042"/>
                    <a:pt x="230981" y="0"/>
                    <a:pt x="309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20D58FB-9D44-414E-AADF-B445B0A52AA5}"/>
              </a:ext>
            </a:extLst>
          </p:cNvPr>
          <p:cNvSpPr txBox="1">
            <a:spLocks/>
          </p:cNvSpPr>
          <p:nvPr/>
        </p:nvSpPr>
        <p:spPr>
          <a:xfrm>
            <a:off x="2379475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C2DC8E-F28F-4FFB-83D2-F329D16AFD40}"/>
              </a:ext>
            </a:extLst>
          </p:cNvPr>
          <p:cNvGrpSpPr/>
          <p:nvPr/>
        </p:nvGrpSpPr>
        <p:grpSpPr>
          <a:xfrm>
            <a:off x="1144349" y="5144803"/>
            <a:ext cx="914400" cy="891183"/>
            <a:chOff x="858520" y="5300445"/>
            <a:chExt cx="914400" cy="891183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F6AE35B-DD38-4883-96FA-39B69A4BAF85}"/>
                </a:ext>
              </a:extLst>
            </p:cNvPr>
            <p:cNvSpPr>
              <a:spLocks/>
            </p:cNvSpPr>
            <p:nvPr/>
          </p:nvSpPr>
          <p:spPr>
            <a:xfrm>
              <a:off x="858520" y="5300445"/>
              <a:ext cx="914400" cy="876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B5BB759-0B9D-4D52-837A-9F9348FF859A}"/>
                </a:ext>
              </a:extLst>
            </p:cNvPr>
            <p:cNvSpPr/>
            <p:nvPr/>
          </p:nvSpPr>
          <p:spPr>
            <a:xfrm>
              <a:off x="1193086" y="5300445"/>
              <a:ext cx="579834" cy="891183"/>
            </a:xfrm>
            <a:custGeom>
              <a:avLst/>
              <a:gdLst/>
              <a:ahLst/>
              <a:cxnLst/>
              <a:rect l="l" t="t" r="r" b="b"/>
              <a:pathLst>
                <a:path w="579834" h="891183">
                  <a:moveTo>
                    <a:pt x="281582" y="0"/>
                  </a:moveTo>
                  <a:cubicBezTo>
                    <a:pt x="363736" y="0"/>
                    <a:pt x="429617" y="26194"/>
                    <a:pt x="479226" y="78581"/>
                  </a:cubicBezTo>
                  <a:cubicBezTo>
                    <a:pt x="520104" y="121444"/>
                    <a:pt x="540543" y="169863"/>
                    <a:pt x="540543" y="223838"/>
                  </a:cubicBezTo>
                  <a:cubicBezTo>
                    <a:pt x="540543" y="300435"/>
                    <a:pt x="498673" y="361553"/>
                    <a:pt x="414933" y="407194"/>
                  </a:cubicBezTo>
                  <a:cubicBezTo>
                    <a:pt x="464939" y="417910"/>
                    <a:pt x="504924" y="441921"/>
                    <a:pt x="534888" y="479227"/>
                  </a:cubicBezTo>
                  <a:cubicBezTo>
                    <a:pt x="564852" y="516533"/>
                    <a:pt x="579834" y="561578"/>
                    <a:pt x="579834" y="614363"/>
                  </a:cubicBezTo>
                  <a:cubicBezTo>
                    <a:pt x="579834" y="690960"/>
                    <a:pt x="551854" y="756245"/>
                    <a:pt x="495895" y="810220"/>
                  </a:cubicBezTo>
                  <a:cubicBezTo>
                    <a:pt x="439936" y="864196"/>
                    <a:pt x="370284" y="891183"/>
                    <a:pt x="286940" y="891183"/>
                  </a:cubicBezTo>
                  <a:cubicBezTo>
                    <a:pt x="207962" y="891183"/>
                    <a:pt x="142478" y="868462"/>
                    <a:pt x="90487" y="823020"/>
                  </a:cubicBezTo>
                  <a:cubicBezTo>
                    <a:pt x="38497" y="777578"/>
                    <a:pt x="8334" y="718145"/>
                    <a:pt x="0" y="644724"/>
                  </a:cubicBezTo>
                  <a:lnTo>
                    <a:pt x="161925" y="625078"/>
                  </a:lnTo>
                  <a:cubicBezTo>
                    <a:pt x="167084" y="666353"/>
                    <a:pt x="180975" y="697905"/>
                    <a:pt x="203597" y="719733"/>
                  </a:cubicBezTo>
                  <a:cubicBezTo>
                    <a:pt x="226218" y="741561"/>
                    <a:pt x="253603" y="752475"/>
                    <a:pt x="285750" y="752475"/>
                  </a:cubicBezTo>
                  <a:cubicBezTo>
                    <a:pt x="320278" y="752475"/>
                    <a:pt x="349349" y="739378"/>
                    <a:pt x="372963" y="713185"/>
                  </a:cubicBezTo>
                  <a:cubicBezTo>
                    <a:pt x="396577" y="686991"/>
                    <a:pt x="408384" y="651669"/>
                    <a:pt x="408384" y="607219"/>
                  </a:cubicBezTo>
                  <a:cubicBezTo>
                    <a:pt x="408384" y="565150"/>
                    <a:pt x="397073" y="531813"/>
                    <a:pt x="374451" y="507206"/>
                  </a:cubicBezTo>
                  <a:cubicBezTo>
                    <a:pt x="351829" y="482600"/>
                    <a:pt x="324247" y="470297"/>
                    <a:pt x="291703" y="470297"/>
                  </a:cubicBezTo>
                  <a:cubicBezTo>
                    <a:pt x="270272" y="470297"/>
                    <a:pt x="244673" y="474464"/>
                    <a:pt x="214907" y="482799"/>
                  </a:cubicBezTo>
                  <a:lnTo>
                    <a:pt x="233362" y="346472"/>
                  </a:lnTo>
                  <a:cubicBezTo>
                    <a:pt x="278606" y="347663"/>
                    <a:pt x="313134" y="337840"/>
                    <a:pt x="336947" y="317004"/>
                  </a:cubicBezTo>
                  <a:cubicBezTo>
                    <a:pt x="360759" y="296168"/>
                    <a:pt x="372665" y="268486"/>
                    <a:pt x="372665" y="233958"/>
                  </a:cubicBezTo>
                  <a:cubicBezTo>
                    <a:pt x="372665" y="204589"/>
                    <a:pt x="363934" y="181174"/>
                    <a:pt x="346472" y="163711"/>
                  </a:cubicBezTo>
                  <a:cubicBezTo>
                    <a:pt x="329009" y="146249"/>
                    <a:pt x="305792" y="137517"/>
                    <a:pt x="276820" y="137517"/>
                  </a:cubicBezTo>
                  <a:cubicBezTo>
                    <a:pt x="248245" y="137517"/>
                    <a:pt x="223837" y="147439"/>
                    <a:pt x="203597" y="167283"/>
                  </a:cubicBezTo>
                  <a:cubicBezTo>
                    <a:pt x="183356" y="187127"/>
                    <a:pt x="171053" y="216099"/>
                    <a:pt x="166687" y="254199"/>
                  </a:cubicBezTo>
                  <a:lnTo>
                    <a:pt x="12501" y="228005"/>
                  </a:lnTo>
                  <a:cubicBezTo>
                    <a:pt x="23217" y="175221"/>
                    <a:pt x="39389" y="133053"/>
                    <a:pt x="61019" y="101501"/>
                  </a:cubicBezTo>
                  <a:cubicBezTo>
                    <a:pt x="82649" y="69949"/>
                    <a:pt x="112811" y="45145"/>
                    <a:pt x="151507" y="27087"/>
                  </a:cubicBezTo>
                  <a:cubicBezTo>
                    <a:pt x="190202" y="9029"/>
                    <a:pt x="233561" y="0"/>
                    <a:pt x="2815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D95D2BB9-C965-447F-BF0D-C32A3564FB0A}"/>
              </a:ext>
            </a:extLst>
          </p:cNvPr>
          <p:cNvSpPr txBox="1">
            <a:spLocks/>
          </p:cNvSpPr>
          <p:nvPr/>
        </p:nvSpPr>
        <p:spPr>
          <a:xfrm>
            <a:off x="2379475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DFAAC-C027-4BB3-8121-A9FF39439CA7}"/>
              </a:ext>
            </a:extLst>
          </p:cNvPr>
          <p:cNvGrpSpPr/>
          <p:nvPr/>
        </p:nvGrpSpPr>
        <p:grpSpPr>
          <a:xfrm>
            <a:off x="6870398" y="1292158"/>
            <a:ext cx="914400" cy="876300"/>
            <a:chOff x="5504180" y="1447800"/>
            <a:chExt cx="914400" cy="876300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EF290FA-9BCB-4477-8469-29D0C70FA996}"/>
                </a:ext>
              </a:extLst>
            </p:cNvPr>
            <p:cNvSpPr>
              <a:spLocks/>
            </p:cNvSpPr>
            <p:nvPr/>
          </p:nvSpPr>
          <p:spPr>
            <a:xfrm>
              <a:off x="5504180" y="1447800"/>
              <a:ext cx="914400" cy="8763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067E23F-1A71-405B-A8A7-23B1DD0424C6}"/>
                </a:ext>
              </a:extLst>
            </p:cNvPr>
            <p:cNvSpPr/>
            <p:nvPr/>
          </p:nvSpPr>
          <p:spPr>
            <a:xfrm>
              <a:off x="5791121" y="1447800"/>
              <a:ext cx="627459" cy="876300"/>
            </a:xfrm>
            <a:custGeom>
              <a:avLst/>
              <a:gdLst/>
              <a:ahLst/>
              <a:cxnLst/>
              <a:rect l="l" t="t" r="r" b="b"/>
              <a:pathLst>
                <a:path w="627459" h="876300">
                  <a:moveTo>
                    <a:pt x="378618" y="0"/>
                  </a:moveTo>
                  <a:lnTo>
                    <a:pt x="519112" y="0"/>
                  </a:lnTo>
                  <a:lnTo>
                    <a:pt x="519112" y="553641"/>
                  </a:lnTo>
                  <a:lnTo>
                    <a:pt x="627459" y="553641"/>
                  </a:lnTo>
                  <a:lnTo>
                    <a:pt x="627459" y="700683"/>
                  </a:lnTo>
                  <a:lnTo>
                    <a:pt x="519112" y="700683"/>
                  </a:lnTo>
                  <a:lnTo>
                    <a:pt x="519112" y="876300"/>
                  </a:lnTo>
                  <a:lnTo>
                    <a:pt x="357187" y="876300"/>
                  </a:lnTo>
                  <a:lnTo>
                    <a:pt x="357187" y="700683"/>
                  </a:lnTo>
                  <a:lnTo>
                    <a:pt x="0" y="700683"/>
                  </a:lnTo>
                  <a:lnTo>
                    <a:pt x="0" y="554236"/>
                  </a:lnTo>
                  <a:lnTo>
                    <a:pt x="378618" y="0"/>
                  </a:lnTo>
                  <a:close/>
                  <a:moveTo>
                    <a:pt x="357187" y="255389"/>
                  </a:moveTo>
                  <a:lnTo>
                    <a:pt x="156567" y="553641"/>
                  </a:lnTo>
                  <a:lnTo>
                    <a:pt x="357187" y="553641"/>
                  </a:lnTo>
                  <a:lnTo>
                    <a:pt x="357187" y="2553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0EDB4C2-F0D2-4EA0-BFA4-440BC33F900B}"/>
              </a:ext>
            </a:extLst>
          </p:cNvPr>
          <p:cNvGrpSpPr/>
          <p:nvPr/>
        </p:nvGrpSpPr>
        <p:grpSpPr>
          <a:xfrm>
            <a:off x="6870398" y="3283235"/>
            <a:ext cx="914400" cy="876300"/>
            <a:chOff x="5504180" y="3438877"/>
            <a:chExt cx="914400" cy="876300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EC46E888-790C-4E6F-AD0D-816625BEE07C}"/>
                </a:ext>
              </a:extLst>
            </p:cNvPr>
            <p:cNvSpPr>
              <a:spLocks/>
            </p:cNvSpPr>
            <p:nvPr/>
          </p:nvSpPr>
          <p:spPr>
            <a:xfrm>
              <a:off x="5504180" y="3438877"/>
              <a:ext cx="914400" cy="876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39A4BC4-73C9-46AE-B2BD-14DFE26EE10B}"/>
                </a:ext>
              </a:extLst>
            </p:cNvPr>
            <p:cNvSpPr/>
            <p:nvPr/>
          </p:nvSpPr>
          <p:spPr>
            <a:xfrm>
              <a:off x="5831602" y="3438877"/>
              <a:ext cx="586978" cy="875705"/>
            </a:xfrm>
            <a:custGeom>
              <a:avLst/>
              <a:gdLst/>
              <a:ahLst/>
              <a:cxnLst/>
              <a:rect l="l" t="t" r="r" b="b"/>
              <a:pathLst>
                <a:path w="586978" h="875705">
                  <a:moveTo>
                    <a:pt x="105966" y="0"/>
                  </a:moveTo>
                  <a:lnTo>
                    <a:pt x="548283" y="0"/>
                  </a:lnTo>
                  <a:lnTo>
                    <a:pt x="548283" y="156567"/>
                  </a:lnTo>
                  <a:lnTo>
                    <a:pt x="232767" y="156567"/>
                  </a:lnTo>
                  <a:lnTo>
                    <a:pt x="206574" y="304800"/>
                  </a:lnTo>
                  <a:cubicBezTo>
                    <a:pt x="243880" y="286147"/>
                    <a:pt x="281980" y="276821"/>
                    <a:pt x="320874" y="276821"/>
                  </a:cubicBezTo>
                  <a:cubicBezTo>
                    <a:pt x="395089" y="276821"/>
                    <a:pt x="457994" y="303808"/>
                    <a:pt x="509588" y="357783"/>
                  </a:cubicBezTo>
                  <a:cubicBezTo>
                    <a:pt x="561181" y="411758"/>
                    <a:pt x="586978" y="481807"/>
                    <a:pt x="586978" y="567928"/>
                  </a:cubicBezTo>
                  <a:cubicBezTo>
                    <a:pt x="586978" y="639763"/>
                    <a:pt x="566142" y="703858"/>
                    <a:pt x="524470" y="760214"/>
                  </a:cubicBezTo>
                  <a:cubicBezTo>
                    <a:pt x="467717" y="837208"/>
                    <a:pt x="388938" y="875705"/>
                    <a:pt x="288131" y="875705"/>
                  </a:cubicBezTo>
                  <a:cubicBezTo>
                    <a:pt x="207566" y="875705"/>
                    <a:pt x="141883" y="854075"/>
                    <a:pt x="91083" y="810816"/>
                  </a:cubicBezTo>
                  <a:cubicBezTo>
                    <a:pt x="40283" y="767557"/>
                    <a:pt x="9922" y="709414"/>
                    <a:pt x="0" y="636389"/>
                  </a:cubicBezTo>
                  <a:lnTo>
                    <a:pt x="166688" y="619125"/>
                  </a:lnTo>
                  <a:cubicBezTo>
                    <a:pt x="171450" y="656828"/>
                    <a:pt x="185539" y="686693"/>
                    <a:pt x="208955" y="708720"/>
                  </a:cubicBezTo>
                  <a:cubicBezTo>
                    <a:pt x="232370" y="730746"/>
                    <a:pt x="259358" y="741760"/>
                    <a:pt x="289917" y="741760"/>
                  </a:cubicBezTo>
                  <a:cubicBezTo>
                    <a:pt x="324842" y="741760"/>
                    <a:pt x="354410" y="727571"/>
                    <a:pt x="378619" y="699195"/>
                  </a:cubicBezTo>
                  <a:cubicBezTo>
                    <a:pt x="402828" y="670818"/>
                    <a:pt x="414933" y="628055"/>
                    <a:pt x="414933" y="570905"/>
                  </a:cubicBezTo>
                  <a:cubicBezTo>
                    <a:pt x="414933" y="517327"/>
                    <a:pt x="402927" y="477143"/>
                    <a:pt x="378917" y="450354"/>
                  </a:cubicBezTo>
                  <a:cubicBezTo>
                    <a:pt x="354906" y="423565"/>
                    <a:pt x="323652" y="410171"/>
                    <a:pt x="285155" y="410171"/>
                  </a:cubicBezTo>
                  <a:cubicBezTo>
                    <a:pt x="237133" y="410171"/>
                    <a:pt x="194072" y="431403"/>
                    <a:pt x="155972" y="473869"/>
                  </a:cubicBezTo>
                  <a:lnTo>
                    <a:pt x="20241" y="454224"/>
                  </a:lnTo>
                  <a:lnTo>
                    <a:pt x="10596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0D84362-2CA0-494F-8969-69F0548ED0D2}"/>
              </a:ext>
            </a:extLst>
          </p:cNvPr>
          <p:cNvGrpSpPr/>
          <p:nvPr/>
        </p:nvGrpSpPr>
        <p:grpSpPr>
          <a:xfrm>
            <a:off x="6870398" y="5144803"/>
            <a:ext cx="914400" cy="891183"/>
            <a:chOff x="5504180" y="5300445"/>
            <a:chExt cx="914400" cy="89118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3C6E159D-B8D3-4F49-8189-7CFACBBB3522}"/>
                </a:ext>
              </a:extLst>
            </p:cNvPr>
            <p:cNvSpPr>
              <a:spLocks/>
            </p:cNvSpPr>
            <p:nvPr/>
          </p:nvSpPr>
          <p:spPr>
            <a:xfrm>
              <a:off x="5504180" y="5300445"/>
              <a:ext cx="914400" cy="876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0D783-5F9F-43A5-80F1-6B09A71F9DDB}"/>
                </a:ext>
              </a:extLst>
            </p:cNvPr>
            <p:cNvSpPr/>
            <p:nvPr/>
          </p:nvSpPr>
          <p:spPr>
            <a:xfrm>
              <a:off x="5835769" y="5300445"/>
              <a:ext cx="582811" cy="891183"/>
            </a:xfrm>
            <a:custGeom>
              <a:avLst/>
              <a:gdLst/>
              <a:ahLst/>
              <a:cxnLst/>
              <a:rect l="l" t="t" r="r" b="b"/>
              <a:pathLst>
                <a:path w="582811" h="891183">
                  <a:moveTo>
                    <a:pt x="319087" y="0"/>
                  </a:moveTo>
                  <a:cubicBezTo>
                    <a:pt x="385366" y="0"/>
                    <a:pt x="440234" y="18554"/>
                    <a:pt x="483691" y="55662"/>
                  </a:cubicBezTo>
                  <a:cubicBezTo>
                    <a:pt x="527149" y="92770"/>
                    <a:pt x="554831" y="146646"/>
                    <a:pt x="566737" y="217289"/>
                  </a:cubicBezTo>
                  <a:lnTo>
                    <a:pt x="404812" y="235149"/>
                  </a:lnTo>
                  <a:cubicBezTo>
                    <a:pt x="400844" y="201811"/>
                    <a:pt x="390525" y="177205"/>
                    <a:pt x="373856" y="161330"/>
                  </a:cubicBezTo>
                  <a:cubicBezTo>
                    <a:pt x="357187" y="145455"/>
                    <a:pt x="335558" y="137517"/>
                    <a:pt x="308967" y="137517"/>
                  </a:cubicBezTo>
                  <a:cubicBezTo>
                    <a:pt x="273645" y="137517"/>
                    <a:pt x="243780" y="153392"/>
                    <a:pt x="219373" y="185142"/>
                  </a:cubicBezTo>
                  <a:cubicBezTo>
                    <a:pt x="194965" y="216892"/>
                    <a:pt x="179586" y="282972"/>
                    <a:pt x="173236" y="383381"/>
                  </a:cubicBezTo>
                  <a:cubicBezTo>
                    <a:pt x="214908" y="334169"/>
                    <a:pt x="266700" y="309563"/>
                    <a:pt x="328612" y="309563"/>
                  </a:cubicBezTo>
                  <a:cubicBezTo>
                    <a:pt x="398462" y="309563"/>
                    <a:pt x="458291" y="336153"/>
                    <a:pt x="508099" y="389335"/>
                  </a:cubicBezTo>
                  <a:cubicBezTo>
                    <a:pt x="557907" y="442516"/>
                    <a:pt x="582811" y="511175"/>
                    <a:pt x="582811" y="595313"/>
                  </a:cubicBezTo>
                  <a:cubicBezTo>
                    <a:pt x="582811" y="684610"/>
                    <a:pt x="556617" y="756245"/>
                    <a:pt x="504230" y="810220"/>
                  </a:cubicBezTo>
                  <a:cubicBezTo>
                    <a:pt x="451842" y="864196"/>
                    <a:pt x="384572" y="891183"/>
                    <a:pt x="302419" y="891183"/>
                  </a:cubicBezTo>
                  <a:cubicBezTo>
                    <a:pt x="214312" y="891183"/>
                    <a:pt x="141883" y="856953"/>
                    <a:pt x="85130" y="788492"/>
                  </a:cubicBezTo>
                  <a:cubicBezTo>
                    <a:pt x="28376" y="720031"/>
                    <a:pt x="0" y="607814"/>
                    <a:pt x="0" y="451842"/>
                  </a:cubicBezTo>
                  <a:cubicBezTo>
                    <a:pt x="0" y="291902"/>
                    <a:pt x="29567" y="176610"/>
                    <a:pt x="88702" y="105966"/>
                  </a:cubicBezTo>
                  <a:cubicBezTo>
                    <a:pt x="147836" y="35322"/>
                    <a:pt x="224631" y="0"/>
                    <a:pt x="319087" y="0"/>
                  </a:cubicBezTo>
                  <a:close/>
                  <a:moveTo>
                    <a:pt x="302419" y="432792"/>
                  </a:moveTo>
                  <a:cubicBezTo>
                    <a:pt x="270272" y="432792"/>
                    <a:pt x="243086" y="445393"/>
                    <a:pt x="220861" y="470595"/>
                  </a:cubicBezTo>
                  <a:cubicBezTo>
                    <a:pt x="198636" y="495796"/>
                    <a:pt x="187523" y="533003"/>
                    <a:pt x="187523" y="582216"/>
                  </a:cubicBezTo>
                  <a:cubicBezTo>
                    <a:pt x="187523" y="636588"/>
                    <a:pt x="200025" y="678557"/>
                    <a:pt x="225028" y="708124"/>
                  </a:cubicBezTo>
                  <a:cubicBezTo>
                    <a:pt x="250031" y="737692"/>
                    <a:pt x="278606" y="752475"/>
                    <a:pt x="310753" y="752475"/>
                  </a:cubicBezTo>
                  <a:cubicBezTo>
                    <a:pt x="341709" y="752475"/>
                    <a:pt x="367506" y="740371"/>
                    <a:pt x="388144" y="716161"/>
                  </a:cubicBezTo>
                  <a:cubicBezTo>
                    <a:pt x="408781" y="691952"/>
                    <a:pt x="419100" y="652264"/>
                    <a:pt x="419100" y="597099"/>
                  </a:cubicBezTo>
                  <a:cubicBezTo>
                    <a:pt x="419100" y="540346"/>
                    <a:pt x="407987" y="498773"/>
                    <a:pt x="385762" y="472381"/>
                  </a:cubicBezTo>
                  <a:cubicBezTo>
                    <a:pt x="363537" y="445989"/>
                    <a:pt x="335756" y="432792"/>
                    <a:pt x="302419" y="43279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8FDBCB39-6FFA-4297-A136-3E097B84AFC4}"/>
              </a:ext>
            </a:extLst>
          </p:cNvPr>
          <p:cNvSpPr txBox="1">
            <a:spLocks/>
          </p:cNvSpPr>
          <p:nvPr/>
        </p:nvSpPr>
        <p:spPr>
          <a:xfrm>
            <a:off x="8105523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8B9CBE38-0C04-4C0B-B58C-98C4590B8E67}"/>
              </a:ext>
            </a:extLst>
          </p:cNvPr>
          <p:cNvSpPr txBox="1">
            <a:spLocks/>
          </p:cNvSpPr>
          <p:nvPr/>
        </p:nvSpPr>
        <p:spPr>
          <a:xfrm>
            <a:off x="8105523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480D66C1-5E11-4171-9244-E6847B85838E}"/>
              </a:ext>
            </a:extLst>
          </p:cNvPr>
          <p:cNvSpPr txBox="1">
            <a:spLocks/>
          </p:cNvSpPr>
          <p:nvPr/>
        </p:nvSpPr>
        <p:spPr>
          <a:xfrm>
            <a:off x="8105523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79992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6</TotalTime>
  <Words>2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3</cp:revision>
  <dcterms:created xsi:type="dcterms:W3CDTF">2021-03-31T02:49:57Z</dcterms:created>
  <dcterms:modified xsi:type="dcterms:W3CDTF">2025-10-16T11:10:53Z</dcterms:modified>
  <cp:category/>
</cp:coreProperties>
</file>